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68" r:id="rId1"/>
  </p:sldMasterIdLst>
  <p:notesMasterIdLst>
    <p:notesMasterId r:id="rId19"/>
  </p:notesMasterIdLst>
  <p:handoutMasterIdLst>
    <p:handoutMasterId r:id="rId20"/>
  </p:handoutMasterIdLst>
  <p:sldIdLst>
    <p:sldId id="2706" r:id="rId2"/>
    <p:sldId id="2910" r:id="rId3"/>
    <p:sldId id="2923" r:id="rId4"/>
    <p:sldId id="2911" r:id="rId5"/>
    <p:sldId id="2913" r:id="rId6"/>
    <p:sldId id="2912" r:id="rId7"/>
    <p:sldId id="2915" r:id="rId8"/>
    <p:sldId id="2930" r:id="rId9"/>
    <p:sldId id="2952" r:id="rId10"/>
    <p:sldId id="2914" r:id="rId11"/>
    <p:sldId id="2916" r:id="rId12"/>
    <p:sldId id="2927" r:id="rId13"/>
    <p:sldId id="2918" r:id="rId14"/>
    <p:sldId id="2919" r:id="rId15"/>
    <p:sldId id="2922" r:id="rId16"/>
    <p:sldId id="2907" r:id="rId17"/>
    <p:sldId id="2909" r:id="rId18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0093"/>
    <a:srgbClr val="990099"/>
    <a:srgbClr val="000000"/>
    <a:srgbClr val="FF9900"/>
    <a:srgbClr val="FF0000"/>
    <a:srgbClr val="D883FF"/>
    <a:srgbClr val="9437FF"/>
    <a:srgbClr val="7030A0"/>
    <a:srgbClr val="3E494F"/>
    <a:srgbClr val="E6CE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05" autoAdjust="0"/>
    <p:restoredTop sz="95273" autoAdjust="0"/>
  </p:normalViewPr>
  <p:slideViewPr>
    <p:cSldViewPr snapToGrid="0">
      <p:cViewPr varScale="1">
        <p:scale>
          <a:sx n="85" d="100"/>
          <a:sy n="85" d="100"/>
        </p:scale>
        <p:origin x="90" y="474"/>
      </p:cViewPr>
      <p:guideLst>
        <p:guide orient="horz" pos="2160"/>
        <p:guide pos="1232"/>
        <p:guide orient="horz" pos="412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t>9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9/4/202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tif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15891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316406"/>
      </p:ext>
    </p:extLst>
  </p:cSld>
  <p:clrMapOvr>
    <a:masterClrMapping/>
  </p:clrMapOvr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7933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1506431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72263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67347135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2513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3205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52697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21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64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72190711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66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5263660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98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DCD90A8-2AD4-4734-A855-DEE9200FA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715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DCD90A8-2AD4-4734-A855-DEE9200FA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699FB9CD-F05E-46CD-BDE0-DBB6DF4657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 dirty="0">
              <a:latin typeface="Trebuchet MS" panose="020B0603020202020204" pitchFamily="34" charset="0"/>
              <a:ea typeface="+mj-ea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7200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3092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E1288502-C50A-44FF-8ADA-19B37ABA9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:a16="http://schemas.microsoft.com/office/drawing/2014/main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BFFCCEB-5B40-4B75-A648-B6AFDBA7AE9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12825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06823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81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31734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05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BD19D0F-291A-4D83-BFD3-E92F280DF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7782886E-3117-43B2-B66A-6FCE0AA25F49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61786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07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440D88E-C2D3-40F2-86E8-2549CD61C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46283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10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02E4E3F-74A9-452F-9CA7-4ACAF83DBC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78535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12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A8C71E58-08E5-4FA9-A1CB-BDECC87B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43703"/>
      </p:ext>
    </p:extLst>
  </p:cSld>
  <p:clrMapOvr>
    <a:masterClrMapping/>
  </p:clrMapOvr>
  <p:transition spd="slow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15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6D5A814-2D3A-46DA-8272-D412D18875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9330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17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D9428F93-06E2-4549-888B-86AF0F20B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7453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5017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9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0AD08186-956E-45DD-9440-01D18F423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22135"/>
      </p:ext>
    </p:extLst>
  </p:cSld>
  <p:clrMapOvr>
    <a:masterClrMapping/>
  </p:clrMapOvr>
  <p:transition spd="slow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2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7F446FA9-5A8B-4B48-8E5C-C452FC03F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98193"/>
      </p:ext>
    </p:extLst>
  </p:cSld>
  <p:clrMapOvr>
    <a:masterClrMapping/>
  </p:clrMapOvr>
  <p:transition spd="slow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27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474F25D1-6498-47B8-AA71-15AA8FC18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46718"/>
      </p:ext>
    </p:extLst>
  </p:cSld>
  <p:clrMapOvr>
    <a:masterClrMapping/>
  </p:clrMapOvr>
  <p:transition spd="slow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29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1C3C86D-33A1-460C-A8C8-3310B95B4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61694"/>
      </p:ext>
    </p:extLst>
  </p:cSld>
  <p:clrMapOvr>
    <a:masterClrMapping/>
  </p:clrMapOvr>
  <p:transition spd="slow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31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0794BF82-75F4-47AD-9721-06A638A9D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07459"/>
      </p:ext>
    </p:extLst>
  </p:cSld>
  <p:clrMapOvr>
    <a:masterClrMapping/>
  </p:clrMapOvr>
  <p:transition spd="slow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34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2F004929-056F-4162-8157-37FCFA4B3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89855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36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9A4AF99-97E0-4866-A437-AC206BFA95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79639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39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89B4B143-79F7-4AEB-9947-FCC5ECB148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41644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41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3AB36091-6ED3-426E-BF7F-B50540493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82967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3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1BCF2195-262F-4353-9190-B94FEDDD89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9336652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54403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6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480F1CE9-D5A8-4797-A9CC-81438A048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77942"/>
      </p:ext>
    </p:extLst>
  </p:cSld>
  <p:clrMapOvr>
    <a:masterClrMapping/>
  </p:clrMapOvr>
  <p:transition spd="slow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75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B03CD6B0-3B6B-4878-92CD-91CD38E1E0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:a16="http://schemas.microsoft.com/office/drawing/2014/main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9814"/>
      </p:ext>
    </p:extLst>
  </p:cSld>
  <p:clrMapOvr>
    <a:masterClrMapping/>
  </p:clrMapOvr>
  <p:transition spd="slow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775" name="Слайд think-cell" r:id="rId4" imgW="359" imgH="358" progId="TCLayout.ActiveDocument.1">
                  <p:embed/>
                </p:oleObj>
              </mc:Choice>
              <mc:Fallback>
                <p:oleObj name="Слайд think-cell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:a16="http://schemas.microsoft.com/office/drawing/2014/main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9433428"/>
      </p:ext>
    </p:extLst>
  </p:cSld>
  <p:clrMapOvr>
    <a:masterClrMapping/>
  </p:clrMapOvr>
  <p:transition spd="slow"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69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C506DC8B-DC41-41DC-BDEB-046072430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B1B8559E-50F2-48F8-BA28-A8F1ACC473C7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264036"/>
      </p:ext>
    </p:extLst>
  </p:cSld>
  <p:clrMapOvr>
    <a:masterClrMapping/>
  </p:clrMapOvr>
  <p:transition spd="slow">
    <p:wipe dir="r"/>
  </p:transition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37301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18044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502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1703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9/4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4263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96DFF08F-DC6B-4601-B491-B0F83F6DD2DA}" type="datetimeFigureOut">
              <a:rPr lang="en-US" smtClean="0"/>
              <a:pPr/>
              <a:t>9/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3619" name="Слайд think-cell" r:id="rId48" imgW="359" imgH="358" progId="TCLayout.ActiveDocument.1">
                  <p:embed/>
                </p:oleObj>
              </mc:Choice>
              <mc:Fallback>
                <p:oleObj name="Слайд think-cell" r:id="rId48" imgW="359" imgH="358" progId="TCLayout.ActiveDocument.1">
                  <p:embed/>
                  <p:pic>
                    <p:nvPicPr>
                      <p:cNvPr id="18" name="Объект 17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 hidden="1">
            <a:extLst>
              <a:ext uri="{FF2B5EF4-FFF2-40B4-BE49-F238E27FC236}">
                <a16:creationId xmlns:a16="http://schemas.microsoft.com/office/drawing/2014/main" id="{4526BEB8-B332-4D0F-B3E2-D415BBE7C57E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905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9" r:id="rId20"/>
    <p:sldLayoutId id="2147483650" r:id="rId21"/>
    <p:sldLayoutId id="2147483781" r:id="rId22"/>
    <p:sldLayoutId id="2147483812" r:id="rId23"/>
    <p:sldLayoutId id="2147483654" r:id="rId24"/>
    <p:sldLayoutId id="2147483660" r:id="rId25"/>
    <p:sldLayoutId id="2147483661" r:id="rId26"/>
    <p:sldLayoutId id="2147483662" r:id="rId27"/>
    <p:sldLayoutId id="2147483663" r:id="rId28"/>
    <p:sldLayoutId id="2147483664" r:id="rId29"/>
    <p:sldLayoutId id="2147483667" r:id="rId30"/>
    <p:sldLayoutId id="2147483668" r:id="rId31"/>
    <p:sldLayoutId id="2147483688" r:id="rId32"/>
    <p:sldLayoutId id="2147483670" r:id="rId33"/>
    <p:sldLayoutId id="2147483671" r:id="rId34"/>
    <p:sldLayoutId id="2147483672" r:id="rId35"/>
    <p:sldLayoutId id="2147483673" r:id="rId36"/>
    <p:sldLayoutId id="2147483674" r:id="rId37"/>
    <p:sldLayoutId id="2147483675" r:id="rId38"/>
    <p:sldLayoutId id="2147483676" r:id="rId39"/>
    <p:sldLayoutId id="2147483677" r:id="rId40"/>
    <p:sldLayoutId id="2147483693" r:id="rId41"/>
    <p:sldLayoutId id="2147483657" r:id="rId42"/>
    <p:sldLayoutId id="2147483795" r:id="rId43"/>
  </p:sldLayoutIdLst>
  <p:transition spd="slow">
    <p:wipe dir="r"/>
  </p:transition>
  <p:timing>
    <p:tnLst>
      <p:par>
        <p:cTn id="1" dur="indefinite" restart="never" nodeType="tmRoot"/>
      </p:par>
    </p:tnLst>
  </p:timing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6.xml"/><Relationship Id="rId7" Type="http://schemas.openxmlformats.org/officeDocument/2006/relationships/oleObject" Target="../embeddings/oleObject28.bin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0.jp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3.jp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534" y="1742830"/>
            <a:ext cx="7145866" cy="4855525"/>
          </a:xfrm>
          <a:prstGeom prst="rect">
            <a:avLst/>
          </a:prstGeom>
        </p:spPr>
      </p:pic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353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9477" y="1898218"/>
            <a:ext cx="3843981" cy="1274195"/>
          </a:xfrm>
        </p:spPr>
        <p:txBody>
          <a:bodyPr anchor="t" anchorCtr="0">
            <a:normAutofit fontScale="90000"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Graphik LCG"/>
              </a:rPr>
              <a:t/>
            </a:r>
            <a:br>
              <a:rPr lang="ru-RU" dirty="0" smtClean="0">
                <a:solidFill>
                  <a:schemeClr val="bg1"/>
                </a:solidFill>
                <a:latin typeface="Graphik LCG"/>
              </a:rPr>
            </a:br>
            <a:r>
              <a:rPr lang="ru-RU" sz="6000" dirty="0" smtClean="0">
                <a:latin typeface="Graphik LCG"/>
              </a:rPr>
              <a:t>"</a:t>
            </a:r>
            <a:r>
              <a:rPr lang="ru-RU" sz="6000" dirty="0">
                <a:solidFill>
                  <a:srgbClr val="FF0000"/>
                </a:solidFill>
                <a:latin typeface="Graphik LCG"/>
              </a:rPr>
              <a:t>Вверх</a:t>
            </a:r>
            <a:r>
              <a:rPr lang="ru-RU" sz="6000" dirty="0">
                <a:latin typeface="Graphik LCG"/>
              </a:rPr>
              <a:t>"</a:t>
            </a:r>
            <a:endParaRPr lang="ru-RU" sz="6000" dirty="0"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644" y="451556"/>
            <a:ext cx="11706578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0000"/>
                </a:solidFill>
              </a:rPr>
              <a:t>Интернет площадка </a:t>
            </a:r>
          </a:p>
          <a:p>
            <a:pPr algn="ctr"/>
            <a:r>
              <a:rPr lang="ru-RU" sz="3600" b="1" dirty="0" err="1" smtClean="0"/>
              <a:t>стартап</a:t>
            </a:r>
            <a:r>
              <a:rPr lang="ru-RU" sz="3600" b="1" dirty="0" smtClean="0"/>
              <a:t> проектов для подростков и молодежи </a:t>
            </a:r>
            <a:endParaRPr lang="ru-RU" sz="3600" b="1" dirty="0"/>
          </a:p>
        </p:txBody>
      </p:sp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94891"/>
            <a:ext cx="11252138" cy="369332"/>
          </a:xfrm>
        </p:spPr>
        <p:txBody>
          <a:bodyPr>
            <a:normAutofit fontScale="90000"/>
          </a:bodyPr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В чем наше уникальное предложение? Какие есть аналогичные решения? В чем их сильные и слабые стороны? </a:t>
            </a:r>
            <a:br>
              <a:rPr lang="ru-RU" sz="1200" b="0" spc="0" dirty="0"/>
            </a:br>
            <a:r>
              <a:rPr lang="ru-RU" sz="1200" b="0" spc="0" dirty="0"/>
              <a:t>Почему/чем ваше решение лучше, чем решения конкурент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778911"/>
            <a:ext cx="11252200" cy="2321560"/>
          </a:xfrm>
        </p:spPr>
        <p:txBody>
          <a:bodyPr/>
          <a:lstStyle/>
          <a:p>
            <a:r>
              <a:rPr lang="ru-RU" dirty="0" smtClean="0"/>
              <a:t>Несет идею вовлечения несовершеннолетних</a:t>
            </a:r>
          </a:p>
          <a:p>
            <a:r>
              <a:rPr lang="ru-RU" dirty="0" smtClean="0"/>
              <a:t>Проходит тестирование на реальных продуктах и идеях</a:t>
            </a:r>
          </a:p>
          <a:p>
            <a:r>
              <a:rPr lang="ru-RU" dirty="0" smtClean="0"/>
              <a:t>Работает как ресурс для обмена опытом между резидентами</a:t>
            </a:r>
          </a:p>
          <a:p>
            <a:r>
              <a:rPr lang="ru-RU" dirty="0" smtClean="0"/>
              <a:t>Служит для продвижения социально активных лидеров в бизнес среду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96293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70C0"/>
                </a:solidFill>
              </a:rPr>
              <a:t>Новизна идеи проект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8313" y="1478155"/>
            <a:ext cx="114265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рорывная, </a:t>
            </a:r>
            <a:r>
              <a:rPr lang="ru-RU" dirty="0" smtClean="0"/>
              <a:t>радикальная платформа </a:t>
            </a:r>
            <a:r>
              <a:rPr lang="ru-RU" dirty="0"/>
              <a:t>не имеет </a:t>
            </a:r>
            <a:r>
              <a:rPr lang="ru-RU" dirty="0" smtClean="0"/>
              <a:t>аналогов по возрастному критерию резидентов</a:t>
            </a:r>
            <a:endParaRPr lang="ru-RU" dirty="0"/>
          </a:p>
        </p:txBody>
      </p:sp>
      <p:sp>
        <p:nvSpPr>
          <p:cNvPr id="6" name="Стрелка вправо 5"/>
          <p:cNvSpPr/>
          <p:nvPr/>
        </p:nvSpPr>
        <p:spPr>
          <a:xfrm>
            <a:off x="468314" y="4594578"/>
            <a:ext cx="2184576" cy="1309511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идея</a:t>
            </a:r>
            <a:endParaRPr lang="ru-RU" dirty="0"/>
          </a:p>
        </p:txBody>
      </p:sp>
      <p:sp>
        <p:nvSpPr>
          <p:cNvPr id="7" name="Стрелка вправо 6"/>
          <p:cNvSpPr/>
          <p:nvPr/>
        </p:nvSpPr>
        <p:spPr>
          <a:xfrm>
            <a:off x="2695876" y="4594577"/>
            <a:ext cx="2192213" cy="1309511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лан</a:t>
            </a:r>
            <a:endParaRPr lang="ru-RU" dirty="0"/>
          </a:p>
        </p:txBody>
      </p:sp>
      <p:sp>
        <p:nvSpPr>
          <p:cNvPr id="8" name="Стрелка вправо 7"/>
          <p:cNvSpPr/>
          <p:nvPr/>
        </p:nvSpPr>
        <p:spPr>
          <a:xfrm>
            <a:off x="4931075" y="4594577"/>
            <a:ext cx="2158347" cy="1309511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одукт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1039" y="4100471"/>
            <a:ext cx="3733800" cy="249021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298266" y="4258665"/>
            <a:ext cx="6539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У</a:t>
            </a:r>
          </a:p>
          <a:p>
            <a:pPr algn="ctr"/>
            <a:r>
              <a:rPr lang="ru-RU" sz="2800" b="1" dirty="0" smtClean="0"/>
              <a:t>С</a:t>
            </a:r>
          </a:p>
          <a:p>
            <a:pPr algn="ctr"/>
            <a:r>
              <a:rPr lang="ru-RU" sz="2800" b="1" dirty="0" smtClean="0"/>
              <a:t>П</a:t>
            </a:r>
          </a:p>
          <a:p>
            <a:pPr algn="ctr"/>
            <a:r>
              <a:rPr lang="ru-RU" sz="2800" b="1" dirty="0" smtClean="0"/>
              <a:t>Е</a:t>
            </a:r>
          </a:p>
          <a:p>
            <a:pPr algn="ctr"/>
            <a:r>
              <a:rPr lang="ru-RU" sz="2800" b="1" dirty="0"/>
              <a:t>Х</a:t>
            </a:r>
          </a:p>
        </p:txBody>
      </p:sp>
    </p:spTree>
    <p:extLst>
      <p:ext uri="{BB962C8B-B14F-4D97-AF65-F5344CB8AC3E}">
        <p14:creationId xmlns:p14="http://schemas.microsoft.com/office/powerpoint/2010/main" val="2140793883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7175386" y="2047879"/>
            <a:ext cx="2540000" cy="671445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2">
                    <a:lumMod val="75000"/>
                  </a:schemeClr>
                </a:solidFill>
              </a:rPr>
              <a:t>Руководитель проекта-Волков Максим Сергеевич</a:t>
            </a:r>
            <a:r>
              <a:rPr lang="en-US" sz="1200" dirty="0">
                <a:solidFill>
                  <a:schemeClr val="bg2">
                    <a:lumMod val="75000"/>
                  </a:schemeClr>
                </a:solidFill>
              </a:rPr>
              <a:t>=PR </a:t>
            </a:r>
            <a:r>
              <a:rPr lang="ru-RU" sz="1200" dirty="0">
                <a:solidFill>
                  <a:schemeClr val="bg2">
                    <a:lumMod val="75000"/>
                  </a:schemeClr>
                </a:solidFill>
              </a:rPr>
              <a:t>продюсер проект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299564" y="2832933"/>
            <a:ext cx="2415822" cy="716996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IT-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Разработчики </a:t>
            </a:r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441244" y="3662768"/>
            <a:ext cx="2829391" cy="688622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АДМИНИСТРАТОРЫ</a:t>
            </a:r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048044" y="3678154"/>
            <a:ext cx="2765777" cy="724108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НАСТАВНИКИ</a:t>
            </a:r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7299564" y="4556401"/>
            <a:ext cx="2754490" cy="721901"/>
          </a:xfrm>
          <a:prstGeom prst="round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РЕЗИДЕНТЫ</a:t>
            </a:r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819" y="968717"/>
            <a:ext cx="5170425" cy="555283"/>
          </a:xfrm>
        </p:spPr>
        <p:txBody>
          <a:bodyPr>
            <a:normAutofit fontScale="90000"/>
          </a:bodyPr>
          <a:lstStyle/>
          <a:p>
            <a:r>
              <a:rPr lang="ru-RU" sz="1200" b="0" spc="0" dirty="0"/>
              <a:t>Идея </a:t>
            </a:r>
            <a:r>
              <a:rPr lang="en-US" sz="1200" b="0" spc="0" dirty="0"/>
              <a:t>⟶ </a:t>
            </a:r>
            <a:r>
              <a:rPr lang="ru-RU" sz="1200" b="0" spc="0" dirty="0"/>
              <a:t>Наличие прототипа/макета/опытного образца</a:t>
            </a:r>
            <a:r>
              <a:rPr lang="en-US" sz="1200" b="0" spc="0" dirty="0"/>
              <a:t> ⟶ </a:t>
            </a:r>
            <a:r>
              <a:rPr lang="ru-RU" sz="1200" b="0" spc="0" dirty="0"/>
              <a:t>Наличие экспертизы</a:t>
            </a:r>
            <a:r>
              <a:rPr lang="en-US" sz="1200" b="0" spc="0" dirty="0"/>
              <a:t>/</a:t>
            </a:r>
            <a:r>
              <a:rPr lang="ru-RU" sz="1200" b="0" spc="0" dirty="0"/>
              <a:t>поддержки</a:t>
            </a:r>
            <a:r>
              <a:rPr lang="en-US" sz="1200" b="0" spc="0" dirty="0"/>
              <a:t>/</a:t>
            </a:r>
            <a:r>
              <a:rPr lang="ru-RU" sz="1200" b="0" spc="0" dirty="0"/>
              <a:t>договоренностей</a:t>
            </a:r>
            <a:r>
              <a:rPr lang="en-US" sz="1200" b="0" spc="0" dirty="0"/>
              <a:t>/</a:t>
            </a:r>
            <a:r>
              <a:rPr lang="ru-RU" sz="1200" b="0" spc="0" dirty="0"/>
              <a:t>ресурсной базы</a:t>
            </a:r>
            <a:r>
              <a:rPr lang="en-US" sz="1200" b="0" spc="0" dirty="0"/>
              <a:t> ⟶ </a:t>
            </a:r>
            <a:br>
              <a:rPr lang="en-US" sz="1200" b="0" spc="0" dirty="0"/>
            </a:br>
            <a:r>
              <a:rPr lang="ru-RU" sz="1200" b="0" spc="0" dirty="0"/>
              <a:t>Реализованный пилот или локальное внедрение</a:t>
            </a:r>
            <a:r>
              <a:rPr lang="en-US" sz="1200" b="0" spc="0" dirty="0"/>
              <a:t> ⟶ </a:t>
            </a:r>
            <a:r>
              <a:rPr lang="ru-RU" sz="1200" b="0" spc="0" dirty="0"/>
              <a:t>Готовность передачи в производство или тиражирование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819" y="1796570"/>
            <a:ext cx="5356692" cy="4167892"/>
          </a:xfrm>
        </p:spPr>
        <p:txBody>
          <a:bodyPr>
            <a:normAutofit fontScale="92500" lnSpcReduction="10000"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На данном этапе моя идея в стадии внедрения проекта. 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Я представил свой проект на различных платформах и акселераторах, где получил </a:t>
            </a:r>
            <a:r>
              <a:rPr lang="ru-RU" dirty="0" smtClean="0">
                <a:solidFill>
                  <a:schemeClr val="tx1"/>
                </a:solidFill>
              </a:rPr>
              <a:t>реакцию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Моя </a:t>
            </a:r>
            <a:r>
              <a:rPr lang="ru-RU" dirty="0" smtClean="0">
                <a:solidFill>
                  <a:schemeClr val="tx1"/>
                </a:solidFill>
              </a:rPr>
              <a:t>идея прошла в финал конкурса «Моя Страна-Моя </a:t>
            </a:r>
            <a:r>
              <a:rPr lang="ru-RU" dirty="0" smtClean="0">
                <a:solidFill>
                  <a:schemeClr val="tx1"/>
                </a:solidFill>
              </a:rPr>
              <a:t>Россия»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Я назначен </a:t>
            </a:r>
            <a:r>
              <a:rPr lang="ru-RU" b="1" dirty="0" smtClean="0">
                <a:solidFill>
                  <a:schemeClr val="tx1"/>
                </a:solidFill>
              </a:rPr>
              <a:t>общественным представителем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ru-RU" b="1" dirty="0" err="1" smtClean="0">
                <a:solidFill>
                  <a:schemeClr val="tx1"/>
                </a:solidFill>
              </a:rPr>
              <a:t>Агенства</a:t>
            </a:r>
            <a:r>
              <a:rPr lang="ru-RU" b="1" dirty="0" smtClean="0">
                <a:solidFill>
                  <a:schemeClr val="tx1"/>
                </a:solidFill>
              </a:rPr>
              <a:t> Стратегических Инициатив</a:t>
            </a:r>
            <a:r>
              <a:rPr lang="ru-RU" dirty="0" smtClean="0">
                <a:solidFill>
                  <a:schemeClr val="tx1"/>
                </a:solidFill>
              </a:rPr>
              <a:t>. </a:t>
            </a:r>
            <a:endParaRPr lang="ru-RU" dirty="0" smtClean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 Я смогу </a:t>
            </a:r>
            <a:r>
              <a:rPr lang="ru-RU" dirty="0" smtClean="0">
                <a:solidFill>
                  <a:schemeClr val="tx1"/>
                </a:solidFill>
              </a:rPr>
              <a:t>официально представлять  свою идею в молодежных центрах и точках кипения. 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8064" y="212360"/>
            <a:ext cx="5266381" cy="483787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2400" dirty="0">
                <a:solidFill>
                  <a:srgbClr val="0070C0"/>
                </a:solidFill>
              </a:rPr>
              <a:t>Текущая стадия зрелости 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 txBox="1">
            <a:spLocks/>
          </p:cNvSpPr>
          <p:nvPr/>
        </p:nvSpPr>
        <p:spPr>
          <a:xfrm>
            <a:off x="5627511" y="1246358"/>
            <a:ext cx="6279269" cy="56270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 cap="all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ru-RU" sz="1100" dirty="0" smtClean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</a:r>
            <a:r>
              <a:rPr lang="ru-RU" sz="1100" dirty="0" err="1" smtClean="0"/>
              <a:t>стейкхолдеры</a:t>
            </a:r>
            <a:r>
              <a:rPr lang="ru-RU" sz="1100" dirty="0" smtClean="0"/>
              <a:t>).</a:t>
            </a:r>
            <a:endParaRPr lang="ru-RU" sz="1100" dirty="0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 txBox="1">
            <a:spLocks/>
          </p:cNvSpPr>
          <p:nvPr/>
        </p:nvSpPr>
        <p:spPr>
          <a:xfrm>
            <a:off x="5332475" y="185635"/>
            <a:ext cx="6225822" cy="103778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200" kern="1200" cap="all" baseline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377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755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None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sz="2400" dirty="0" smtClean="0">
                <a:solidFill>
                  <a:schemeClr val="tx1"/>
                </a:solidFill>
              </a:rPr>
              <a:t>Матрица ролей и ключевых участников </a:t>
            </a:r>
            <a:endParaRPr lang="ru-RU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012864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789709" y="142179"/>
            <a:ext cx="10412563" cy="49859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1800" dirty="0" smtClean="0">
                <a:solidFill>
                  <a:srgbClr val="0070C0"/>
                </a:solidFill>
              </a:rPr>
              <a:t>Матрица связей работ проекта ( </a:t>
            </a:r>
            <a:r>
              <a:rPr lang="ru-RU" sz="1800" dirty="0">
                <a:solidFill>
                  <a:srgbClr val="0070C0"/>
                </a:solidFill>
              </a:rPr>
              <a:t>сетевой график работ) с указанием предшествования работ, длительностей и соответствующих сроков (заполняется по каждой задаче</a:t>
            </a:r>
            <a:r>
              <a:rPr lang="ru-RU" sz="1800" dirty="0" smtClean="0">
                <a:solidFill>
                  <a:srgbClr val="0070C0"/>
                </a:solidFill>
              </a:rPr>
              <a:t>)</a:t>
            </a:r>
            <a:endParaRPr lang="ru-RU" dirty="0">
              <a:solidFill>
                <a:srgbClr val="0070C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0816442"/>
              </p:ext>
            </p:extLst>
          </p:nvPr>
        </p:nvGraphicFramePr>
        <p:xfrm>
          <a:off x="1284316" y="647999"/>
          <a:ext cx="9690586" cy="407462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479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122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36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167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7431">
                <a:tc>
                  <a:txBody>
                    <a:bodyPr/>
                    <a:lstStyle/>
                    <a:p>
                      <a:r>
                        <a:rPr lang="ru-RU" dirty="0" smtClean="0"/>
                        <a:t>№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ид работ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редыдущ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родолжительность</a:t>
                      </a:r>
                      <a:endParaRPr lang="ru-RU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0945"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Разработка</a:t>
                      </a:r>
                      <a:r>
                        <a:rPr lang="ru-RU" baseline="0" dirty="0" smtClean="0"/>
                        <a:t> сайта</a:t>
                      </a:r>
                      <a:endParaRPr lang="ru-RU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-4 месяца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0945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Покупка</a:t>
                      </a:r>
                      <a:r>
                        <a:rPr lang="ru-RU" baseline="0" dirty="0" smtClean="0"/>
                        <a:t> домена и места на сервере</a:t>
                      </a:r>
                      <a:endParaRPr lang="ru-RU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-3 дня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540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EO </a:t>
                      </a:r>
                      <a:r>
                        <a:rPr lang="ru-RU" dirty="0" smtClean="0"/>
                        <a:t>оптимизац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 месяц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540"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дключение</a:t>
                      </a:r>
                      <a:r>
                        <a:rPr lang="ru-RU" baseline="0" dirty="0" smtClean="0"/>
                        <a:t> </a:t>
                      </a:r>
                      <a:r>
                        <a:rPr lang="ru-RU" baseline="0" dirty="0" err="1" smtClean="0"/>
                        <a:t>соцсете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 месяц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0945"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ривлечение и обучение администратор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-2 месяца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0945">
                <a:tc>
                  <a:txBody>
                    <a:bodyPr/>
                    <a:lstStyle/>
                    <a:p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ривлечение наставников</a:t>
                      </a:r>
                      <a:r>
                        <a:rPr lang="ru-RU" baseline="0" dirty="0" smtClean="0"/>
                        <a:t> и куратор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2-3 месяц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0945">
                <a:tc>
                  <a:txBody>
                    <a:bodyPr/>
                    <a:lstStyle/>
                    <a:p>
                      <a:r>
                        <a:rPr lang="ru-RU" dirty="0" smtClean="0"/>
                        <a:t>7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Запуск и отладка платформ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2-3 месяц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90945">
                <a:tc>
                  <a:txBody>
                    <a:bodyPr/>
                    <a:lstStyle/>
                    <a:p>
                      <a:r>
                        <a:rPr lang="ru-RU" dirty="0" smtClean="0"/>
                        <a:t>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еклама и продвижение платформы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6-9 месяце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Овал 5"/>
          <p:cNvSpPr/>
          <p:nvPr/>
        </p:nvSpPr>
        <p:spPr>
          <a:xfrm>
            <a:off x="789709" y="5436524"/>
            <a:ext cx="989215" cy="10141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70C0"/>
                </a:solidFill>
              </a:rPr>
              <a:t>финансирование</a:t>
            </a:r>
            <a:endParaRPr lang="ru-RU" sz="1200" dirty="0">
              <a:solidFill>
                <a:srgbClr val="0070C0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1741516" y="4871258"/>
            <a:ext cx="407323" cy="4405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8" name="Овал 7"/>
          <p:cNvSpPr/>
          <p:nvPr/>
        </p:nvSpPr>
        <p:spPr>
          <a:xfrm>
            <a:off x="2406534" y="5744095"/>
            <a:ext cx="640080" cy="60682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4397432" y="5212080"/>
            <a:ext cx="623455" cy="6483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cxnSp>
        <p:nvCxnSpPr>
          <p:cNvPr id="10" name="Прямая со стрелкой 9"/>
          <p:cNvCxnSpPr>
            <a:endCxn id="7" idx="3"/>
          </p:cNvCxnSpPr>
          <p:nvPr/>
        </p:nvCxnSpPr>
        <p:spPr>
          <a:xfrm flipV="1">
            <a:off x="1512916" y="5247312"/>
            <a:ext cx="288251" cy="2390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>
            <a:stCxn id="6" idx="6"/>
            <a:endCxn id="8" idx="2"/>
          </p:cNvCxnSpPr>
          <p:nvPr/>
        </p:nvCxnSpPr>
        <p:spPr>
          <a:xfrm>
            <a:off x="1778924" y="5943600"/>
            <a:ext cx="627610" cy="10391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/>
          <p:cNvCxnSpPr/>
          <p:nvPr/>
        </p:nvCxnSpPr>
        <p:spPr>
          <a:xfrm>
            <a:off x="1741516" y="6217920"/>
            <a:ext cx="6005945" cy="232756"/>
          </a:xfrm>
          <a:prstGeom prst="bentConnector3">
            <a:avLst>
              <a:gd name="adj1" fmla="val -381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Соединительная линия уступом 12"/>
          <p:cNvCxnSpPr/>
          <p:nvPr/>
        </p:nvCxnSpPr>
        <p:spPr>
          <a:xfrm flipV="1">
            <a:off x="1776846" y="5544589"/>
            <a:ext cx="2655916" cy="207819"/>
          </a:xfrm>
          <a:prstGeom prst="bentConnector3">
            <a:avLst>
              <a:gd name="adj1" fmla="val -391"/>
            </a:avLst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вал 13"/>
          <p:cNvSpPr/>
          <p:nvPr/>
        </p:nvSpPr>
        <p:spPr>
          <a:xfrm>
            <a:off x="5569527" y="5212080"/>
            <a:ext cx="640080" cy="6483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sp>
        <p:nvSpPr>
          <p:cNvPr id="15" name="Овал 14"/>
          <p:cNvSpPr/>
          <p:nvPr/>
        </p:nvSpPr>
        <p:spPr>
          <a:xfrm>
            <a:off x="6417425" y="4775564"/>
            <a:ext cx="623455" cy="62869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cxnSp>
        <p:nvCxnSpPr>
          <p:cNvPr id="16" name="Прямая со стрелкой 15"/>
          <p:cNvCxnSpPr>
            <a:stCxn id="9" idx="6"/>
            <a:endCxn id="14" idx="2"/>
          </p:cNvCxnSpPr>
          <p:nvPr/>
        </p:nvCxnSpPr>
        <p:spPr>
          <a:xfrm>
            <a:off x="5020887" y="5536276"/>
            <a:ext cx="54864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9" idx="7"/>
          </p:cNvCxnSpPr>
          <p:nvPr/>
        </p:nvCxnSpPr>
        <p:spPr>
          <a:xfrm flipV="1">
            <a:off x="4929584" y="4962698"/>
            <a:ext cx="1487841" cy="34433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вал 17"/>
          <p:cNvSpPr/>
          <p:nvPr/>
        </p:nvSpPr>
        <p:spPr>
          <a:xfrm>
            <a:off x="6417425" y="5625638"/>
            <a:ext cx="623455" cy="6400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cxnSp>
        <p:nvCxnSpPr>
          <p:cNvPr id="19" name="Прямая со стрелкой 18"/>
          <p:cNvCxnSpPr>
            <a:stCxn id="9" idx="5"/>
          </p:cNvCxnSpPr>
          <p:nvPr/>
        </p:nvCxnSpPr>
        <p:spPr>
          <a:xfrm>
            <a:off x="4929584" y="5765517"/>
            <a:ext cx="1487841" cy="17808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/>
          <p:cNvSpPr/>
          <p:nvPr/>
        </p:nvSpPr>
        <p:spPr>
          <a:xfrm>
            <a:off x="7489766" y="4955376"/>
            <a:ext cx="914400" cy="89777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cxnSp>
        <p:nvCxnSpPr>
          <p:cNvPr id="21" name="Прямая со стрелкой 20"/>
          <p:cNvCxnSpPr>
            <a:stCxn id="15" idx="6"/>
          </p:cNvCxnSpPr>
          <p:nvPr/>
        </p:nvCxnSpPr>
        <p:spPr>
          <a:xfrm>
            <a:off x="7040880" y="5089914"/>
            <a:ext cx="457200" cy="15739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8711738" y="5648498"/>
            <a:ext cx="1529541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dirty="0" smtClean="0"/>
              <a:t>6-9месяце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9523012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6" y="852599"/>
            <a:ext cx="10764068" cy="400981"/>
          </a:xfrm>
        </p:spPr>
        <p:txBody>
          <a:bodyPr>
            <a:normAutofit/>
          </a:bodyPr>
          <a:lstStyle/>
          <a:p>
            <a:r>
              <a:rPr lang="ru-RU" sz="1200" b="0" spc="0" dirty="0"/>
              <a:t>Основные этапы проекта, контрольные точки, ведущие к достижению промежуточных и конечных результат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7067" y="1253580"/>
            <a:ext cx="5712177" cy="5226242"/>
          </a:xfrm>
        </p:spPr>
        <p:txBody>
          <a:bodyPr>
            <a:normAutofit fontScale="85000" lnSpcReduction="10000"/>
          </a:bodyPr>
          <a:lstStyle/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1.Одобрение и поддержка проекта на уровне АСИ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2.Получение гранда или финансирования инвестора на реализацию проекта.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3.Разработка сайта и </a:t>
            </a:r>
            <a:r>
              <a:rPr lang="ru-RU" dirty="0" err="1" smtClean="0">
                <a:solidFill>
                  <a:schemeClr val="tx1">
                    <a:lumMod val="95000"/>
                  </a:schemeClr>
                </a:solidFill>
              </a:rPr>
              <a:t>соцсетей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 привязанных к проекту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4.Реклама и продвижение проекта для набора резидентов среди подростков на платформах РДШ и в молодежных центрах.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5.Реклама среди аудитории потребителей продукта и заинтересованных гостей.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6.Тестирование успешных идей на платформе, городских и региональных ярмарках </a:t>
            </a:r>
            <a:r>
              <a:rPr lang="ru-RU" dirty="0" err="1" smtClean="0">
                <a:solidFill>
                  <a:schemeClr val="tx1">
                    <a:lumMod val="95000"/>
                  </a:schemeClr>
                </a:solidFill>
              </a:rPr>
              <a:t>стартапов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.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7. Подключение проекта к списку тематических партнеров МДЦ и ВДЦ для продвижения и рекламы идеи проекта.</a:t>
            </a:r>
            <a:endParaRPr lang="ru-RU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5231" y="123360"/>
            <a:ext cx="681295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>
                <a:solidFill>
                  <a:srgbClr val="0070C0"/>
                </a:solidFill>
              </a:rPr>
              <a:t>План реализации проекта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095824"/>
              </p:ext>
            </p:extLst>
          </p:nvPr>
        </p:nvGraphicFramePr>
        <p:xfrm>
          <a:off x="6215315" y="2511084"/>
          <a:ext cx="5976685" cy="338897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078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3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31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62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869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групп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ысокая вероятность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редняя вероятность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изкая вероятность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883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Юридические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FF9900"/>
                          </a:solidFill>
                        </a:rPr>
                        <a:t>Нет возможности торговать из-за </a:t>
                      </a:r>
                      <a:r>
                        <a:rPr lang="ru-RU" sz="1200" dirty="0" smtClean="0">
                          <a:solidFill>
                            <a:srgbClr val="FF9900"/>
                          </a:solidFill>
                        </a:rPr>
                        <a:t>возраста</a:t>
                      </a:r>
                      <a:endParaRPr lang="ru-RU" sz="1200" dirty="0">
                        <a:solidFill>
                          <a:srgbClr val="FF99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1228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инансовые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FF0000"/>
                          </a:solidFill>
                        </a:rPr>
                        <a:t>Сложность в приеме оплаты</a:t>
                      </a:r>
                      <a:endParaRPr lang="ru-RU" sz="12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136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перационный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70C0"/>
                          </a:solidFill>
                        </a:rPr>
                        <a:t>Небольшие задержки во внедрении платформы</a:t>
                      </a:r>
                      <a:endParaRPr lang="ru-RU" sz="1200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Подзаголовок 2"/>
          <p:cNvSpPr txBox="1">
            <a:spLocks/>
          </p:cNvSpPr>
          <p:nvPr/>
        </p:nvSpPr>
        <p:spPr>
          <a:xfrm>
            <a:off x="6306670" y="2056166"/>
            <a:ext cx="5523038" cy="4462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8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6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srgbClr val="0070C0"/>
                </a:solidFill>
              </a:rPr>
              <a:t>Матрица рисков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9703040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66199"/>
          </a:xfrm>
        </p:spPr>
        <p:txBody>
          <a:bodyPr>
            <a:normAutofit fontScale="90000"/>
          </a:bodyPr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Источники финансирования, наличие команды, инфраструктура и т.д.</a:t>
            </a:r>
            <a:endParaRPr lang="ru-RU" sz="1200" b="0" spc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6463" y="1538171"/>
            <a:ext cx="5729225" cy="4872567"/>
          </a:xfrm>
        </p:spPr>
        <p:txBody>
          <a:bodyPr>
            <a:normAutofit fontScale="92500" lnSpcReduction="20000"/>
          </a:bodyPr>
          <a:lstStyle/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Источники финансирования на данный момент в стадии развития. Я планирую с помощью рекламы и продвижения идеи проекта привлечь инвесторов и инициативных наставников.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Для сбора команды мне необходима публичная презентация проекта среди молодежи моего города и края, и среди 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участников 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объединений таких как РДШ, а так же на форуме АСИ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, я 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готовлю выступление. 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Для реализации проекта необходима материальная база и оборудование для осуществления администрирования сайте и ведения разработки.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Необходимы специалисты разработчики сайтов.</a:t>
            </a:r>
          </a:p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70C0"/>
                </a:solidFill>
              </a:rPr>
              <a:t>Ресурсное обеспечение проекта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2387070"/>
              </p:ext>
            </p:extLst>
          </p:nvPr>
        </p:nvGraphicFramePr>
        <p:xfrm>
          <a:off x="6368348" y="2651811"/>
          <a:ext cx="5352165" cy="3312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35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326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40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№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ид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тоимость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Разработка сай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80 </a:t>
                      </a:r>
                      <a:r>
                        <a:rPr lang="ru-RU" dirty="0" err="1" smtClean="0"/>
                        <a:t>тыс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Домен + сервер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0 </a:t>
                      </a:r>
                      <a:r>
                        <a:rPr lang="ru-RU" dirty="0" err="1" smtClean="0"/>
                        <a:t>тыс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 smtClean="0"/>
                        <a:t>Сео</a:t>
                      </a:r>
                      <a:r>
                        <a:rPr lang="ru-RU" dirty="0" smtClean="0"/>
                        <a:t> оптимизац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0-40 </a:t>
                      </a:r>
                      <a:r>
                        <a:rPr lang="ru-RU" dirty="0" err="1" smtClean="0"/>
                        <a:t>тыс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Администрирование (2 – 3 человека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90 </a:t>
                      </a:r>
                      <a:r>
                        <a:rPr lang="ru-RU" dirty="0" err="1" smtClean="0"/>
                        <a:t>тыс</a:t>
                      </a:r>
                      <a:r>
                        <a:rPr lang="ru-RU" dirty="0" smtClean="0"/>
                        <a:t>(ежемесячно)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родвижение реклам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10-20 </a:t>
                      </a:r>
                      <a:r>
                        <a:rPr lang="ru-RU" dirty="0" err="1" smtClean="0"/>
                        <a:t>тыс</a:t>
                      </a:r>
                      <a:r>
                        <a:rPr lang="ru-RU" dirty="0" smtClean="0"/>
                        <a:t>(ежемесячно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6276623" y="1538171"/>
            <a:ext cx="53509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Предварительная стоимостная оценка выполнения работ по проекту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17974"/>
            <a:ext cx="11252138" cy="332399"/>
          </a:xfrm>
        </p:spPr>
        <p:txBody>
          <a:bodyPr>
            <a:normAutofit fontScale="90000"/>
          </a:bodyPr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Какой рынок создает, развивает реализация проекта? Какой эффект даст реализация проекта вне системы заявителя, а не внутри нее? 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r>
              <a:rPr lang="ru-RU" sz="1200" b="0" spc="0" dirty="0"/>
              <a:t>Изменение поведения людей или функционирования объектов и систем, к которому приводит использование результата проекта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455" y="2201333"/>
            <a:ext cx="6438167" cy="4257656"/>
          </a:xfrm>
        </p:spPr>
        <p:txBody>
          <a:bodyPr/>
          <a:lstStyle/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Ранняя профориентация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Мотивация для бизнес инноваций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Экономическая грамотность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Вектор карьерного роста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Правильные ориентиры в бизнес среде</a:t>
            </a:r>
          </a:p>
          <a:p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Успешные </a:t>
            </a:r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MVP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 и </a:t>
            </a:r>
            <a:r>
              <a:rPr lang="ru-RU" dirty="0" err="1" smtClean="0">
                <a:solidFill>
                  <a:schemeClr val="tx1">
                    <a:lumMod val="95000"/>
                  </a:schemeClr>
                </a:solidFill>
              </a:rPr>
              <a:t>стартап</a:t>
            </a:r>
            <a:r>
              <a:rPr lang="ru-RU" dirty="0" smtClean="0">
                <a:solidFill>
                  <a:schemeClr val="tx1">
                    <a:lumMod val="95000"/>
                  </a:schemeClr>
                </a:solidFill>
              </a:rPr>
              <a:t> проекты</a:t>
            </a:r>
          </a:p>
          <a:p>
            <a:pPr marL="0" indent="0">
              <a:buNone/>
            </a:pPr>
            <a:endParaRPr lang="ru-RU" dirty="0" smtClean="0"/>
          </a:p>
          <a:p>
            <a:endParaRPr lang="ru-RU" dirty="0" smtClean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>
                <a:solidFill>
                  <a:srgbClr val="0070C0"/>
                </a:solidFill>
              </a:rPr>
              <a:t>Эффекты от реализации проекта  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4622" y="2619022"/>
            <a:ext cx="4959341" cy="291320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264471" y="1303000"/>
            <a:ext cx="71352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800" b="1" dirty="0" smtClean="0"/>
              <a:t>МЫ БУДУЩЕЕ СТРАНЫ!</a:t>
            </a:r>
            <a:endParaRPr lang="ru-RU" sz="4800" b="1" dirty="0"/>
          </a:p>
        </p:txBody>
      </p:sp>
    </p:spTree>
    <p:extLst>
      <p:ext uri="{BB962C8B-B14F-4D97-AF65-F5344CB8AC3E}">
        <p14:creationId xmlns:p14="http://schemas.microsoft.com/office/powerpoint/2010/main" val="3442567985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517DC1-D596-4F4B-8134-96542D046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1376" y="649138"/>
            <a:ext cx="10781377" cy="858697"/>
          </a:xfrm>
        </p:spPr>
        <p:txBody>
          <a:bodyPr/>
          <a:lstStyle/>
          <a:p>
            <a:r>
              <a:rPr lang="ru-RU" sz="3000" dirty="0"/>
              <a:t>	</a:t>
            </a:r>
            <a:br>
              <a:rPr lang="ru-RU" sz="3000" dirty="0"/>
            </a:br>
            <a:r>
              <a:rPr lang="ru-RU" sz="3000" dirty="0"/>
              <a:t>         </a:t>
            </a:r>
            <a:r>
              <a:rPr lang="ru-RU" dirty="0"/>
              <a:t>Паспорт проекта Часть 1</a:t>
            </a:r>
            <a:endParaRPr lang="ru-RU" sz="3000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AD4DED4-3054-194D-A66F-6ADD1A8A9C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5332061"/>
              </p:ext>
            </p:extLst>
          </p:nvPr>
        </p:nvGraphicFramePr>
        <p:xfrm>
          <a:off x="810881" y="1078486"/>
          <a:ext cx="10055042" cy="50342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541199">
                  <a:extLst>
                    <a:ext uri="{9D8B030D-6E8A-4147-A177-3AD203B41FA5}">
                      <a16:colId xmlns:a16="http://schemas.microsoft.com/office/drawing/2014/main" val="1358888087"/>
                    </a:ext>
                  </a:extLst>
                </a:gridCol>
                <a:gridCol w="7513843">
                  <a:extLst>
                    <a:ext uri="{9D8B030D-6E8A-4147-A177-3AD203B41FA5}">
                      <a16:colId xmlns:a16="http://schemas.microsoft.com/office/drawing/2014/main" val="2636570510"/>
                    </a:ext>
                  </a:extLst>
                </a:gridCol>
              </a:tblGrid>
              <a:tr h="353622">
                <a:tc>
                  <a:txBody>
                    <a:bodyPr/>
                    <a:lstStyle/>
                    <a:p>
                      <a:r>
                        <a:rPr lang="ru-RU" sz="1200" b="0" dirty="0"/>
                        <a:t>Проблема </a:t>
                      </a:r>
                    </a:p>
                    <a:p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/>
                        <a:t>Какую проблему решает проект ? В чем ее актуальность? Каков масштаб проблемы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02187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Цель проект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акое желаемое состояние мы планируем  достичь реализацией проекта. Проблема, переформулированная в позитивном ключ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86150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Суть проек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Краткое описание предлагаемого решения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6643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рынка, целевые сегмент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 какие сегменты рынка на который ориентирован продукт/услуга  (название, доля, динамика, тенденции развития, драйверы роста, потенциальные потребители)  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основание спроса на продукцию, с описанием целевых потребителей (клиентов) и ключевых факторов принятия ими решения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10909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лючевые результаты проекта </a:t>
                      </a:r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Какие материальные и нематериальные объекты, продукты и (или) услуги мы создадим в рамках проекта. </a:t>
                      </a:r>
                      <a:r>
                        <a:rPr lang="ru-RU" sz="1200" b="0" dirty="0"/>
                        <a:t>Краткосрочные и долгосрочные ключевые результаты проекта, описание их взаимосвязи  результатов. Структурная декомпозиция результатов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73943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Новизна идеи проек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В чем наше уникальное предложение? Какие есть аналогичные решения? В чем их сильные и слабые стороны? Почему/чем наше решение  лучше, чем решения  конкуренто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257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екущая стадия зрелости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Идея</a:t>
                      </a:r>
                    </a:p>
                    <a:p>
                      <a:r>
                        <a:rPr lang="ru-RU" sz="1200" dirty="0"/>
                        <a:t>Наличие прототипа/макета/опытного образца</a:t>
                      </a:r>
                    </a:p>
                    <a:p>
                      <a:r>
                        <a:rPr lang="ru-RU" sz="1200" dirty="0"/>
                        <a:t>Наличие экспертизы \ поддержки\ договоренностей \ ресурсной базы</a:t>
                      </a:r>
                    </a:p>
                    <a:p>
                      <a:r>
                        <a:rPr lang="ru-RU" sz="1200" dirty="0"/>
                        <a:t>Реализованный пилот или локальное внедрение</a:t>
                      </a:r>
                    </a:p>
                    <a:p>
                      <a:r>
                        <a:rPr lang="ru-RU" sz="1200" dirty="0"/>
                        <a:t>Готовность передачи в производство или тиражирова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5167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атрица ролей и ключевых участников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          </a:r>
                      <a:r>
                        <a:rPr lang="ru-RU" sz="1200" dirty="0" err="1"/>
                        <a:t>стейкхолдеры</a:t>
                      </a:r>
                      <a:r>
                        <a:rPr lang="ru-RU" sz="12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781453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0805A2B-205C-B64F-B382-A6BB44D29A20}"/>
              </a:ext>
            </a:extLst>
          </p:cNvPr>
          <p:cNvSpPr txBox="1"/>
          <p:nvPr/>
        </p:nvSpPr>
        <p:spPr>
          <a:xfrm>
            <a:off x="7164659" y="490654"/>
            <a:ext cx="0" cy="0"/>
          </a:xfrm>
          <a:prstGeom prst="rect">
            <a:avLst/>
          </a:prstGeom>
          <a:noFill/>
        </p:spPr>
        <p:txBody>
          <a:bodyPr wrap="non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ru-RU" sz="1000" dirty="0" err="1">
              <a:solidFill>
                <a:schemeClr val="tx2"/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5B6EB43-E21C-A048-8B57-92C1C8519363}"/>
              </a:ext>
            </a:extLst>
          </p:cNvPr>
          <p:cNvSpPr txBox="1">
            <a:spLocks/>
          </p:cNvSpPr>
          <p:nvPr/>
        </p:nvSpPr>
        <p:spPr>
          <a:xfrm>
            <a:off x="682625" y="205939"/>
            <a:ext cx="11037888" cy="443198"/>
          </a:xfrm>
          <a:prstGeom prst="rect">
            <a:avLst/>
          </a:prstGeom>
        </p:spPr>
        <p:txBody>
          <a:bodyPr vert="horz" wrap="square" lIns="0" tIns="0" rIns="7200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0" spc="-151" dirty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Паспорт проекта. Часть 1</a:t>
            </a:r>
          </a:p>
        </p:txBody>
      </p:sp>
    </p:spTree>
    <p:extLst>
      <p:ext uri="{BB962C8B-B14F-4D97-AF65-F5344CB8AC3E}">
        <p14:creationId xmlns:p14="http://schemas.microsoft.com/office/powerpoint/2010/main" val="35861959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AD4DED4-3054-194D-A66F-6ADD1A8A9C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335305"/>
              </p:ext>
            </p:extLst>
          </p:nvPr>
        </p:nvGraphicFramePr>
        <p:xfrm>
          <a:off x="792000" y="1080000"/>
          <a:ext cx="9154532" cy="2377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597615">
                  <a:extLst>
                    <a:ext uri="{9D8B030D-6E8A-4147-A177-3AD203B41FA5}">
                      <a16:colId xmlns:a16="http://schemas.microsoft.com/office/drawing/2014/main" val="1358888087"/>
                    </a:ext>
                  </a:extLst>
                </a:gridCol>
                <a:gridCol w="6556917">
                  <a:extLst>
                    <a:ext uri="{9D8B030D-6E8A-4147-A177-3AD203B41FA5}">
                      <a16:colId xmlns:a16="http://schemas.microsoft.com/office/drawing/2014/main" val="26365705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лан реализации проект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200" b="0" dirty="0"/>
                        <a:t>Основные этапы проекта, контрольные  точки , ведущие к достижению промежуточных и конечных результатов</a:t>
                      </a:r>
                    </a:p>
                    <a:p>
                      <a:endParaRPr lang="ru-RU" sz="12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44576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сурсное обеспечение проект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сточники финансирования, наличие команды, инфраструктура и </a:t>
                      </a:r>
                      <a:r>
                        <a:rPr lang="ru-RU" sz="12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д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143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иски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ечень ключевых рисков</a:t>
                      </a:r>
                    </a:p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99077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ффекты от реализации проекта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кой рынок создает, развивает  реализация проекта?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кой эффект даст реализация проекта вне системы заявителя, а не внутри нее?</a:t>
                      </a:r>
                    </a:p>
                    <a:p>
                      <a:r>
                        <a:rPr lang="ru-RU" sz="1200" dirty="0"/>
                        <a:t>Изменение поведения людей или функционирования объектов и систем, к которому приводит использование результата проекта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1201884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0EFD926-5F38-4247-B5AC-4BB8832C0DD6}"/>
              </a:ext>
            </a:extLst>
          </p:cNvPr>
          <p:cNvSpPr txBox="1">
            <a:spLocks/>
          </p:cNvSpPr>
          <p:nvPr/>
        </p:nvSpPr>
        <p:spPr>
          <a:xfrm>
            <a:off x="682625" y="205939"/>
            <a:ext cx="11037888" cy="443198"/>
          </a:xfrm>
          <a:prstGeom prst="rect">
            <a:avLst/>
          </a:prstGeom>
        </p:spPr>
        <p:txBody>
          <a:bodyPr vert="horz" wrap="square" lIns="0" tIns="0" rIns="72000" bIns="0" rtlCol="0" anchor="t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0" spc="-151" dirty="0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Паспорт проекта. Часть 2</a:t>
            </a:r>
          </a:p>
        </p:txBody>
      </p:sp>
    </p:spTree>
    <p:extLst>
      <p:ext uri="{BB962C8B-B14F-4D97-AF65-F5344CB8AC3E}">
        <p14:creationId xmlns:p14="http://schemas.microsoft.com/office/powerpoint/2010/main" val="347060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>
            <a:normAutofit fontScale="90000"/>
          </a:bodyPr>
          <a:lstStyle/>
          <a:p>
            <a:r>
              <a:rPr lang="ru-RU" sz="1200" b="0" spc="0" dirty="0"/>
              <a:t>Какую проблему решает проект ? В чем ее актуальность? Каков масштаб проблемы?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70C0"/>
                </a:solidFill>
              </a:rPr>
              <a:t>Проблема</a:t>
            </a:r>
            <a:r>
              <a:rPr lang="ru-RU" sz="3600" dirty="0"/>
              <a:t>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8375" y="1347631"/>
            <a:ext cx="57326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подростки не могут заниматься </a:t>
            </a:r>
          </a:p>
          <a:p>
            <a:r>
              <a:rPr lang="ru-RU" dirty="0" smtClean="0"/>
              <a:t>предпринимательством, их бизнес инициативы</a:t>
            </a:r>
          </a:p>
          <a:p>
            <a:r>
              <a:rPr lang="ru-RU" dirty="0" smtClean="0"/>
              <a:t>не воспринимают серьезно 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68375" y="2317549"/>
            <a:ext cx="59378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нет возможности для граждан 14-16 реализовать </a:t>
            </a:r>
          </a:p>
          <a:p>
            <a:r>
              <a:rPr lang="ru-RU" dirty="0" smtClean="0"/>
              <a:t>свои бизнес идеи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68375" y="3010468"/>
            <a:ext cx="53796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ет платформы </a:t>
            </a:r>
            <a:r>
              <a:rPr lang="ru-RU" dirty="0" err="1" smtClean="0"/>
              <a:t>акселиратора</a:t>
            </a:r>
            <a:r>
              <a:rPr lang="ru-RU" dirty="0"/>
              <a:t> </a:t>
            </a:r>
            <a:r>
              <a:rPr lang="ru-RU" dirty="0" smtClean="0"/>
              <a:t>для обучения подростков предпринимательству и бизнес проектированию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468375" y="3949347"/>
            <a:ext cx="53142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нет </a:t>
            </a:r>
            <a:r>
              <a:rPr lang="ru-RU" dirty="0"/>
              <a:t>инфраструктуры, </a:t>
            </a:r>
            <a:r>
              <a:rPr lang="ru-RU" dirty="0" smtClean="0"/>
              <a:t>платформы </a:t>
            </a:r>
          </a:p>
          <a:p>
            <a:r>
              <a:rPr lang="ru-RU" dirty="0" smtClean="0"/>
              <a:t>для взаимодействия юных </a:t>
            </a:r>
            <a:r>
              <a:rPr lang="ru-RU" dirty="0" err="1" smtClean="0"/>
              <a:t>стартаперов</a:t>
            </a:r>
            <a:r>
              <a:rPr lang="ru-RU" dirty="0" smtClean="0"/>
              <a:t> и их </a:t>
            </a:r>
          </a:p>
          <a:p>
            <a:r>
              <a:rPr lang="ru-RU" dirty="0" smtClean="0"/>
              <a:t>наставников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468375" y="4888226"/>
            <a:ext cx="66746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много барьеров для начала продвижения своей </a:t>
            </a:r>
          </a:p>
          <a:p>
            <a:r>
              <a:rPr lang="ru-RU" dirty="0" smtClean="0"/>
              <a:t>идеи, продукта для не эмансипированных  несовершеннолетних граждан </a:t>
            </a:r>
          </a:p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6" name="Блок-схема: узел 15"/>
          <p:cNvSpPr/>
          <p:nvPr/>
        </p:nvSpPr>
        <p:spPr>
          <a:xfrm>
            <a:off x="237067" y="1501422"/>
            <a:ext cx="112889" cy="124177"/>
          </a:xfrm>
          <a:prstGeom prst="flowChartConnector">
            <a:avLst/>
          </a:prstGeom>
          <a:solidFill>
            <a:schemeClr val="accent5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9497" y="2480026"/>
            <a:ext cx="128027" cy="14631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2299" y="5071753"/>
            <a:ext cx="128027" cy="14631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497" y="3184991"/>
            <a:ext cx="128027" cy="14631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941" y="4128372"/>
            <a:ext cx="128027" cy="146317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278019" y="1360844"/>
            <a:ext cx="5801092" cy="42290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6219" y="1501422"/>
            <a:ext cx="5544941" cy="3933295"/>
          </a:xfrm>
        </p:spPr>
      </p:pic>
    </p:spTree>
    <p:extLst>
      <p:ext uri="{BB962C8B-B14F-4D97-AF65-F5344CB8AC3E}">
        <p14:creationId xmlns:p14="http://schemas.microsoft.com/office/powerpoint/2010/main" val="3027363703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661799" y="1010871"/>
            <a:ext cx="5145024" cy="18739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799" y="2954646"/>
            <a:ext cx="5145024" cy="3429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16088" y="181170"/>
            <a:ext cx="112098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/>
              <a:t>В России в настоящее время зарегистрировано 456 несовершеннолетних индивидуальных предпринимателей</a:t>
            </a:r>
            <a:r>
              <a:rPr lang="ru-RU" b="1" i="1" dirty="0" smtClean="0"/>
              <a:t>.</a:t>
            </a:r>
            <a:endParaRPr lang="ru-RU" b="1" i="1" dirty="0"/>
          </a:p>
        </p:txBody>
      </p:sp>
      <p:sp>
        <p:nvSpPr>
          <p:cNvPr id="6" name="TextBox 5"/>
          <p:cNvSpPr txBox="1"/>
          <p:nvPr/>
        </p:nvSpPr>
        <p:spPr>
          <a:xfrm>
            <a:off x="6661799" y="1116053"/>
            <a:ext cx="473004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/>
              <a:t>А как начать свой путь предпринимателя </a:t>
            </a:r>
            <a:endParaRPr lang="en-US" sz="2400" b="1" i="1" dirty="0" smtClean="0"/>
          </a:p>
          <a:p>
            <a:r>
              <a:rPr lang="ru-RU" sz="2400" b="1" i="1" dirty="0" smtClean="0"/>
              <a:t>будучи несовершеннолетним</a:t>
            </a:r>
            <a:r>
              <a:rPr lang="en-US" sz="2400" b="1" i="1" dirty="0" smtClean="0"/>
              <a:t>?</a:t>
            </a:r>
            <a:r>
              <a:rPr lang="ru-RU" sz="2400" b="1" i="1" dirty="0" smtClean="0"/>
              <a:t>  </a:t>
            </a:r>
            <a:endParaRPr lang="ru-RU" sz="2400" b="1" i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9081913" y="3068196"/>
            <a:ext cx="24440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Если не получать отклик и признание, то интерес к любому увлечению быстро пропадает.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81377" y="3668360"/>
            <a:ext cx="454942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b="1" dirty="0">
                <a:solidFill>
                  <a:srgbClr val="FFC000"/>
                </a:solidFill>
              </a:rPr>
              <a:t>TAM</a:t>
            </a:r>
            <a:r>
              <a:rPr lang="ru-RU" dirty="0"/>
              <a:t> – все подростки от 10 до 18 лет</a:t>
            </a:r>
          </a:p>
          <a:p>
            <a:pPr algn="l"/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SAM</a:t>
            </a:r>
            <a:r>
              <a:rPr lang="ru-RU" dirty="0"/>
              <a:t>- подростки от 10-18 лет желающие заработать и продавать свой продукт</a:t>
            </a:r>
          </a:p>
          <a:p>
            <a:pPr algn="l"/>
            <a:r>
              <a:rPr lang="ru-RU" b="1" dirty="0"/>
              <a:t>SOM</a:t>
            </a:r>
            <a:r>
              <a:rPr lang="ru-RU" dirty="0"/>
              <a:t>- подростки от 10-18 лет </a:t>
            </a:r>
            <a:r>
              <a:rPr lang="ru-RU" dirty="0" smtClean="0"/>
              <a:t>которые готовы попробовать реализовать свою бизнес идею 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340" y="504335"/>
            <a:ext cx="3704965" cy="329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48985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>
            <a:normAutofit fontScale="90000"/>
          </a:bodyPr>
          <a:lstStyle/>
          <a:p>
            <a:r>
              <a:rPr lang="ru-RU" sz="1200" b="0" spc="0" dirty="0"/>
              <a:t>Какое желаемое состояние мы планируем достичь реализацией проекта? Проблема, переформулированная в позитивном ключе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70C0"/>
                </a:solidFill>
              </a:rPr>
              <a:t>Цель проекта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2949" y="4019399"/>
            <a:ext cx="56522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Развить способности и знания в области проектирования</a:t>
            </a:r>
            <a:endParaRPr lang="ru-RU" dirty="0"/>
          </a:p>
          <a:p>
            <a:r>
              <a:rPr lang="ru-RU" dirty="0" smtClean="0"/>
              <a:t>бизнес идей экономики и управления бизнес проектом 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57524" y="1383413"/>
            <a:ext cx="5378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оздать платформу для </a:t>
            </a:r>
            <a:r>
              <a:rPr lang="ru-RU" dirty="0" err="1" smtClean="0"/>
              <a:t>стартап</a:t>
            </a:r>
            <a:r>
              <a:rPr lang="ru-RU" dirty="0" smtClean="0"/>
              <a:t> проектов </a:t>
            </a:r>
          </a:p>
          <a:p>
            <a:r>
              <a:rPr lang="ru-RU" dirty="0" smtClean="0"/>
              <a:t>где резидентами станут подростки 14-16 лет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12949" y="2094202"/>
            <a:ext cx="53796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рганизовать на базе платформы бизнес-</a:t>
            </a:r>
            <a:r>
              <a:rPr lang="ru-RU" dirty="0" err="1" smtClean="0"/>
              <a:t>акселиратор</a:t>
            </a:r>
            <a:r>
              <a:rPr lang="ru-RU" dirty="0" smtClean="0"/>
              <a:t> ориентированный на несовершеннолетних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412949" y="3032963"/>
            <a:ext cx="57076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оздать инфраструктуру в рамках платформы для</a:t>
            </a:r>
          </a:p>
          <a:p>
            <a:r>
              <a:rPr lang="ru-RU" dirty="0" smtClean="0"/>
              <a:t>обмена опытом и наставничества 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412949" y="5271596"/>
            <a:ext cx="66746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оздать возможность на базе сайта реализовать свою бизнес инициативу</a:t>
            </a:r>
          </a:p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2" name="Блок-схема: узел 11"/>
          <p:cNvSpPr/>
          <p:nvPr/>
        </p:nvSpPr>
        <p:spPr>
          <a:xfrm>
            <a:off x="237067" y="1501422"/>
            <a:ext cx="112889" cy="124177"/>
          </a:xfrm>
          <a:prstGeom prst="flowChartConnector">
            <a:avLst/>
          </a:prstGeom>
          <a:solidFill>
            <a:schemeClr val="accent5"/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075" y="2276824"/>
            <a:ext cx="128027" cy="14631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654" y="5432997"/>
            <a:ext cx="128027" cy="14631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786" y="3173702"/>
            <a:ext cx="128027" cy="14631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941" y="4128372"/>
            <a:ext cx="128027" cy="14631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07" b="22566"/>
          <a:stretch/>
        </p:blipFill>
        <p:spPr>
          <a:xfrm>
            <a:off x="6231467" y="1241790"/>
            <a:ext cx="5808460" cy="3738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296463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>
            <a:normAutofit fontScale="90000"/>
          </a:bodyPr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486" y="1279877"/>
            <a:ext cx="11193047" cy="4883856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chemeClr val="tx1"/>
                </a:solidFill>
              </a:rPr>
              <a:t>Я предлагаю создать сайт платформу на которой будет несколько разделов выполняющих различные задачи. 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chemeClr val="tx1"/>
                </a:solidFill>
              </a:rPr>
              <a:t>- акселератор </a:t>
            </a:r>
            <a:r>
              <a:rPr lang="ru-RU" sz="2400" dirty="0" err="1" smtClean="0">
                <a:solidFill>
                  <a:schemeClr val="tx1"/>
                </a:solidFill>
              </a:rPr>
              <a:t>стартап</a:t>
            </a:r>
            <a:r>
              <a:rPr lang="ru-RU" sz="2400" dirty="0" smtClean="0">
                <a:solidFill>
                  <a:schemeClr val="tx1"/>
                </a:solidFill>
              </a:rPr>
              <a:t> проектов 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chemeClr val="tx1"/>
                </a:solidFill>
              </a:rPr>
              <a:t>- мастер </a:t>
            </a:r>
            <a:r>
              <a:rPr lang="ru-RU" sz="2400" dirty="0" smtClean="0">
                <a:solidFill>
                  <a:schemeClr val="tx1"/>
                </a:solidFill>
              </a:rPr>
              <a:t>классы от бизнес тренеров и наставников 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chemeClr val="tx1"/>
                </a:solidFill>
              </a:rPr>
              <a:t>- форум </a:t>
            </a:r>
            <a:r>
              <a:rPr lang="ru-RU" sz="2400" dirty="0" smtClean="0">
                <a:solidFill>
                  <a:schemeClr val="tx1"/>
                </a:solidFill>
              </a:rPr>
              <a:t>для обмена опыта резидентов проекта 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chemeClr val="tx1"/>
                </a:solidFill>
              </a:rPr>
              <a:t>- сама </a:t>
            </a:r>
            <a:r>
              <a:rPr lang="ru-RU" sz="2400" dirty="0" smtClean="0">
                <a:solidFill>
                  <a:schemeClr val="tx1"/>
                </a:solidFill>
              </a:rPr>
              <a:t>платформа представляющая успешные продукты, идеи и услуги, </a:t>
            </a:r>
            <a:r>
              <a:rPr lang="ru-RU" sz="2400" dirty="0" smtClean="0">
                <a:solidFill>
                  <a:schemeClr val="tx1"/>
                </a:solidFill>
              </a:rPr>
              <a:t>созданные        </a:t>
            </a:r>
            <a:r>
              <a:rPr lang="ru-RU" sz="2400" dirty="0" smtClean="0">
                <a:solidFill>
                  <a:schemeClr val="tx1"/>
                </a:solidFill>
              </a:rPr>
              <a:t> </a:t>
            </a:r>
            <a:r>
              <a:rPr lang="ru-RU" sz="2400" dirty="0" smtClean="0">
                <a:solidFill>
                  <a:schemeClr val="tx1"/>
                </a:solidFill>
              </a:rPr>
              <a:t>резидентами </a:t>
            </a:r>
            <a:r>
              <a:rPr lang="ru-RU" sz="2400" dirty="0" smtClean="0">
                <a:solidFill>
                  <a:schemeClr val="tx1"/>
                </a:solidFill>
              </a:rPr>
              <a:t>и их </a:t>
            </a:r>
            <a:r>
              <a:rPr lang="ru-RU" sz="2400" dirty="0" smtClean="0">
                <a:solidFill>
                  <a:schemeClr val="tx1"/>
                </a:solidFill>
              </a:rPr>
              <a:t>командами</a:t>
            </a:r>
          </a:p>
          <a:p>
            <a:pPr marL="0" indent="0">
              <a:buNone/>
            </a:pPr>
            <a:r>
              <a:rPr lang="ru-RU" sz="2400" dirty="0" smtClean="0">
                <a:solidFill>
                  <a:schemeClr val="tx1"/>
                </a:solidFill>
              </a:rPr>
              <a:t>- юридическая </a:t>
            </a:r>
            <a:r>
              <a:rPr lang="ru-RU" sz="2400" dirty="0" smtClean="0">
                <a:solidFill>
                  <a:schemeClr val="tx1"/>
                </a:solidFill>
              </a:rPr>
              <a:t>поддержка протестированных успешных проектов для привлечения инвесторов и запуска проектов в реальную </a:t>
            </a:r>
            <a:r>
              <a:rPr lang="ru-RU" sz="2400" dirty="0" smtClean="0">
                <a:solidFill>
                  <a:schemeClr val="tx1"/>
                </a:solidFill>
              </a:rPr>
              <a:t>жизнь</a:t>
            </a:r>
          </a:p>
          <a:p>
            <a:pPr marL="0" indent="0">
              <a:buNone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70C0"/>
                </a:solidFill>
              </a:rPr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31824"/>
            <a:ext cx="11252138" cy="116443"/>
          </a:xfrm>
        </p:spPr>
        <p:txBody>
          <a:bodyPr>
            <a:normAutofit fontScale="90000"/>
          </a:bodyPr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На какие сегменты рынка ориентирован продукт/услуга?  (название, доля, динамика, тенденции развития, драйверы роста, потенциальные потребители)  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r>
              <a:rPr lang="ru-RU" sz="1200" b="0" kern="1200" spc="0" dirty="0">
                <a:solidFill>
                  <a:schemeClr val="dk1"/>
                </a:solidFill>
              </a:rPr>
              <a:t>Обоснование спроса на продукцию, с описанием целевых потребителей (клиентов) и ключевых факторов принятия ими решения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248" y="167027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0070C0"/>
                </a:solidFill>
              </a:rPr>
              <a:t>Анализ рынка, целевые сегменты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1744" y="1295895"/>
            <a:ext cx="4662311" cy="2533062"/>
          </a:xfrm>
          <a:prstGeom prst="rect">
            <a:avLst/>
          </a:prstGeom>
        </p:spPr>
      </p:pic>
      <p:sp>
        <p:nvSpPr>
          <p:cNvPr id="6" name="Пятиугольник 5"/>
          <p:cNvSpPr/>
          <p:nvPr/>
        </p:nvSpPr>
        <p:spPr>
          <a:xfrm>
            <a:off x="328782" y="1277950"/>
            <a:ext cx="3780374" cy="2533062"/>
          </a:xfrm>
          <a:prstGeom prst="homePlat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2">
                    <a:lumMod val="75000"/>
                  </a:schemeClr>
                </a:solidFill>
              </a:rPr>
              <a:t>резиденты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-участники, это </a:t>
            </a:r>
            <a:r>
              <a:rPr lang="ru-RU" dirty="0">
                <a:solidFill>
                  <a:schemeClr val="bg2">
                    <a:lumMod val="75000"/>
                  </a:schemeClr>
                </a:solidFill>
              </a:rPr>
              <a:t>активные подростки 12-16 </a:t>
            </a:r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лет, </a:t>
            </a:r>
          </a:p>
          <a:p>
            <a:pPr algn="ctr"/>
            <a:r>
              <a:rPr lang="ru-RU" sz="1600" dirty="0" smtClean="0">
                <a:solidFill>
                  <a:schemeClr val="bg2">
                    <a:lumMod val="75000"/>
                  </a:schemeClr>
                </a:solidFill>
              </a:rPr>
              <a:t>интересующиеся предпринимательством, инициативные и ищущие возможность самореализации</a:t>
            </a:r>
            <a:endParaRPr lang="ru-RU" sz="16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365066" y="1295895"/>
            <a:ext cx="3351319" cy="503023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2">
                    <a:lumMod val="75000"/>
                  </a:schemeClr>
                </a:solidFill>
              </a:rPr>
              <a:t>Потребители</a:t>
            </a:r>
          </a:p>
          <a:p>
            <a:pPr algn="ctr"/>
            <a:endParaRPr lang="ru-RU" b="1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Подростки(участники, наблюдатели)</a:t>
            </a:r>
          </a:p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Организации, которые   находятся в поисках кадрового резерва</a:t>
            </a:r>
          </a:p>
          <a:p>
            <a:endParaRPr lang="ru-RU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ru-RU" dirty="0" smtClean="0">
                <a:solidFill>
                  <a:schemeClr val="bg2">
                    <a:lumMod val="75000"/>
                  </a:schemeClr>
                </a:solidFill>
              </a:rPr>
              <a:t>Успешные предприниматели ищущие специалистов для своего бизнеса</a:t>
            </a:r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6855" y="3811012"/>
            <a:ext cx="682977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ЛОКАЦИИ </a:t>
            </a:r>
            <a:r>
              <a:rPr lang="ru-RU" sz="2400" b="1" dirty="0" smtClean="0"/>
              <a:t>ПРОЕКТА </a:t>
            </a:r>
          </a:p>
          <a:p>
            <a:pPr algn="ctr"/>
            <a:r>
              <a:rPr lang="ru-RU" sz="2400" b="1" dirty="0" smtClean="0"/>
              <a:t>для привлечения резидентов</a:t>
            </a:r>
          </a:p>
          <a:p>
            <a:pPr algn="ctr"/>
            <a:endParaRPr lang="ru-RU" b="1" dirty="0" smtClean="0"/>
          </a:p>
          <a:p>
            <a:pPr marL="285750" indent="-285750">
              <a:buFontTx/>
              <a:buChar char="-"/>
            </a:pPr>
            <a:r>
              <a:rPr lang="ru-RU" b="1" dirty="0" smtClean="0"/>
              <a:t>Ярмарки </a:t>
            </a:r>
            <a:r>
              <a:rPr lang="ru-RU" b="1" dirty="0" err="1" smtClean="0"/>
              <a:t>стартапов</a:t>
            </a:r>
            <a:r>
              <a:rPr lang="ru-RU" b="1" dirty="0" smtClean="0"/>
              <a:t> организованные в городах 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Социальные сети и посты и группы ориентированные на активную молодежь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Молодежные клубы и центры 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Школы и колледжи</a:t>
            </a:r>
          </a:p>
          <a:p>
            <a:pPr marL="285750" indent="-285750">
              <a:buFontTx/>
              <a:buChar char="-"/>
            </a:pPr>
            <a:r>
              <a:rPr lang="ru-RU" b="1" dirty="0" smtClean="0"/>
              <a:t>МДЦ и ВДЦ в рамках тематических смен  </a:t>
            </a:r>
          </a:p>
          <a:p>
            <a:pPr marL="285750" indent="-285750">
              <a:buFontTx/>
              <a:buChar char="-"/>
            </a:pP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691785197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87" y="648697"/>
            <a:ext cx="11252138" cy="369332"/>
          </a:xfrm>
        </p:spPr>
        <p:txBody>
          <a:bodyPr>
            <a:normAutofit fontScale="90000"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/>
            </a:br>
            <a:r>
              <a:rPr lang="ru-RU" sz="1200" b="0" spc="0" dirty="0"/>
              <a:t>Краткосрочные и долгосрочные ключевые результаты проекта, описание их взаимосвязи  результатов. Структурная декомпозиция результат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9352" y="1318111"/>
            <a:ext cx="5119625" cy="5229445"/>
          </a:xfrm>
        </p:spPr>
        <p:txBody>
          <a:bodyPr>
            <a:normAutofit/>
          </a:bodyPr>
          <a:lstStyle/>
          <a:p>
            <a:r>
              <a:rPr lang="ru-RU" b="1" dirty="0">
                <a:solidFill>
                  <a:schemeClr val="tx1"/>
                </a:solidFill>
              </a:rPr>
              <a:t>Создание онлайн платформы, </a:t>
            </a:r>
            <a:r>
              <a:rPr lang="ru-RU" b="1" dirty="0" smtClean="0">
                <a:solidFill>
                  <a:schemeClr val="tx1"/>
                </a:solidFill>
              </a:rPr>
              <a:t>и локаций в </a:t>
            </a:r>
            <a:r>
              <a:rPr lang="ru-RU" b="1" dirty="0" err="1" smtClean="0">
                <a:solidFill>
                  <a:schemeClr val="tx1"/>
                </a:solidFill>
              </a:rPr>
              <a:t>соцсетях</a:t>
            </a:r>
            <a:r>
              <a:rPr lang="ru-RU" b="1" dirty="0" smtClean="0">
                <a:solidFill>
                  <a:schemeClr val="tx1"/>
                </a:solidFill>
              </a:rPr>
              <a:t> помогающих реализовать свои возможности и бизнес инициативы </a:t>
            </a:r>
          </a:p>
          <a:p>
            <a:r>
              <a:rPr lang="ru-RU" b="1" dirty="0" smtClean="0">
                <a:solidFill>
                  <a:schemeClr val="tx1"/>
                </a:solidFill>
              </a:rPr>
              <a:t>Проработка бизнес идей в акселераторе с рекомендациями наставников </a:t>
            </a:r>
          </a:p>
          <a:p>
            <a:r>
              <a:rPr lang="ru-RU" b="1" dirty="0" smtClean="0">
                <a:solidFill>
                  <a:schemeClr val="tx1"/>
                </a:solidFill>
              </a:rPr>
              <a:t>На сайте размещаются реальные продукты и бизнес идеи реализуемые юными резидентами </a:t>
            </a:r>
          </a:p>
          <a:p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9862" y="94699"/>
            <a:ext cx="11252138" cy="553998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600" dirty="0">
                <a:solidFill>
                  <a:srgbClr val="0070C0"/>
                </a:solidFill>
              </a:rPr>
              <a:t>Ключевые результаты проекта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72565" y="1025723"/>
            <a:ext cx="38022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/>
              <a:t>«Все получится!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321" y="1880309"/>
            <a:ext cx="6401127" cy="3639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270033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599410" y="540327"/>
            <a:ext cx="4247804" cy="82296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Интернет-платформа стартам проектов «Вверх»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022465" y="631767"/>
            <a:ext cx="1936866" cy="7315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зидент-участник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915294" y="1911928"/>
            <a:ext cx="3898669" cy="70658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Акселератор продуктов и идей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948545" y="3075710"/>
            <a:ext cx="3898669" cy="739832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одвижение ,поддержка и консультации успешных проектов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786552" y="556952"/>
            <a:ext cx="2078182" cy="80633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требитель, инвестор</a:t>
            </a:r>
            <a:endParaRPr lang="ru-RU" dirty="0"/>
          </a:p>
        </p:txBody>
      </p:sp>
      <p:sp>
        <p:nvSpPr>
          <p:cNvPr id="10" name="Овал 9"/>
          <p:cNvSpPr/>
          <p:nvPr/>
        </p:nvSpPr>
        <p:spPr>
          <a:xfrm>
            <a:off x="2211185" y="3973483"/>
            <a:ext cx="7323512" cy="2601884"/>
          </a:xfrm>
          <a:prstGeom prst="ellipse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5195455" y="3973483"/>
            <a:ext cx="1064029" cy="93933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Идея</a:t>
            </a:r>
          </a:p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  <a:endParaRPr lang="ru-RU" dirty="0" smtClean="0">
              <a:solidFill>
                <a:schemeClr val="tx1"/>
              </a:solidFill>
            </a:endParaRPr>
          </a:p>
        </p:txBody>
      </p:sp>
      <p:pic>
        <p:nvPicPr>
          <p:cNvPr id="19036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644" y="4029075"/>
            <a:ext cx="993775" cy="95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036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448" y="4323513"/>
            <a:ext cx="993775" cy="95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036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842" y="4092316"/>
            <a:ext cx="993775" cy="95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0362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3701" y="4437366"/>
            <a:ext cx="993775" cy="950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788161" y="4702988"/>
            <a:ext cx="844853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dirty="0" smtClean="0"/>
              <a:t>продукт1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070862" y="4323513"/>
            <a:ext cx="711733" cy="55399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ru-RU" dirty="0" smtClean="0"/>
              <a:t>Услуга</a:t>
            </a:r>
          </a:p>
          <a:p>
            <a:pPr algn="ctr"/>
            <a:r>
              <a:rPr lang="ru-RU" dirty="0"/>
              <a:t>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598835" y="4244971"/>
            <a:ext cx="868828" cy="55399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ru-RU" dirty="0" smtClean="0"/>
              <a:t>продукт</a:t>
            </a:r>
          </a:p>
          <a:p>
            <a:pPr algn="ctr"/>
            <a:r>
              <a:rPr lang="ru-RU" dirty="0"/>
              <a:t>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034633" y="4512108"/>
            <a:ext cx="535403" cy="55399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ru-RU" dirty="0" smtClean="0"/>
              <a:t>Идея</a:t>
            </a:r>
          </a:p>
          <a:p>
            <a:pPr algn="ctr"/>
            <a:r>
              <a:rPr lang="ru-RU" dirty="0"/>
              <a:t>2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426729" y="5494713"/>
            <a:ext cx="2921722" cy="81464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ставники и кураторы</a:t>
            </a:r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3025833" y="960119"/>
            <a:ext cx="448887" cy="1787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лево 17"/>
          <p:cNvSpPr/>
          <p:nvPr/>
        </p:nvSpPr>
        <p:spPr>
          <a:xfrm>
            <a:off x="8034633" y="909204"/>
            <a:ext cx="643854" cy="176645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8524701" y="1298109"/>
            <a:ext cx="224444" cy="294686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 стрелкой 21"/>
          <p:cNvCxnSpPr/>
          <p:nvPr/>
        </p:nvCxnSpPr>
        <p:spPr>
          <a:xfrm>
            <a:off x="3599410" y="5274425"/>
            <a:ext cx="914400" cy="91440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4638502" y="5043228"/>
            <a:ext cx="216131" cy="45720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5764818" y="4912822"/>
            <a:ext cx="0" cy="58189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Выгнутая влево стрелка 28"/>
          <p:cNvSpPr/>
          <p:nvPr/>
        </p:nvSpPr>
        <p:spPr>
          <a:xfrm>
            <a:off x="2828333" y="1298109"/>
            <a:ext cx="731520" cy="1216152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1903627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43" y="2514261"/>
            <a:ext cx="749300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1" name="Прямая со стрелкой 30"/>
          <p:cNvCxnSpPr/>
          <p:nvPr/>
        </p:nvCxnSpPr>
        <p:spPr>
          <a:xfrm flipH="1">
            <a:off x="6598835" y="4987636"/>
            <a:ext cx="411628" cy="59851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3628" name="Прямая со стрелкой 1903627"/>
          <p:cNvCxnSpPr/>
          <p:nvPr/>
        </p:nvCxnSpPr>
        <p:spPr>
          <a:xfrm flipH="1">
            <a:off x="7257011" y="5286894"/>
            <a:ext cx="1045323" cy="91440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1250671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4A1A86-3D3F-4720-BDF0-2A4166550CB6}" type="datetime1">
              <a:rPr lang="en-US" smtClean="0"/>
              <a:t>9/4/2020</a:t>
            </a:fld>
            <a:endParaRPr lang="en-US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431412" y="1400297"/>
            <a:ext cx="4655128" cy="537325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Интернет-платформа </a:t>
            </a:r>
            <a:r>
              <a:rPr lang="ru-RU" dirty="0" err="1" smtClean="0"/>
              <a:t>стартап</a:t>
            </a:r>
            <a:r>
              <a:rPr lang="ru-RU" dirty="0" smtClean="0"/>
              <a:t> проектов </a:t>
            </a:r>
            <a:r>
              <a:rPr lang="ru-RU" dirty="0"/>
              <a:t>«Вверх»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364910" y="2135032"/>
            <a:ext cx="4721630" cy="80901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одвижение и реклама идеи проекта, поиск гранта и </a:t>
            </a:r>
            <a:r>
              <a:rPr lang="ru-RU" dirty="0" smtClean="0"/>
              <a:t>инвесторов для </a:t>
            </a:r>
            <a:r>
              <a:rPr lang="ru-RU" dirty="0" smtClean="0">
                <a:solidFill>
                  <a:srgbClr val="0070C0"/>
                </a:solidFill>
              </a:rPr>
              <a:t>финансирования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81438" y="3495504"/>
            <a:ext cx="2136371" cy="113053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зработка сайта</a:t>
            </a:r>
            <a:endParaRPr lang="ru-RU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648331" y="5008419"/>
            <a:ext cx="1986741" cy="116378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ивлечение спикеров и наставников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921862" y="4975167"/>
            <a:ext cx="1970116" cy="1197033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рганизация городских ярмарок </a:t>
            </a:r>
            <a:r>
              <a:rPr lang="ru-RU" dirty="0" err="1" smtClean="0"/>
              <a:t>стартапов</a:t>
            </a:r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91485" y="3503817"/>
            <a:ext cx="2053244" cy="1197033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ивязка </a:t>
            </a:r>
            <a:r>
              <a:rPr lang="ru-RU" dirty="0" err="1" smtClean="0"/>
              <a:t>соц.сетей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357492" y="4975167"/>
            <a:ext cx="2011680" cy="1197033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Информирование среди учащихся школ, колледжей и вузов</a:t>
            </a:r>
            <a:endParaRPr lang="ru-RU" sz="1400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8834684" y="4975167"/>
            <a:ext cx="1803862" cy="1163783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Введение программ в МДЦ и ВДЦ</a:t>
            </a:r>
            <a:endParaRPr lang="ru-RU" dirty="0"/>
          </a:p>
        </p:txBody>
      </p:sp>
      <p:cxnSp>
        <p:nvCxnSpPr>
          <p:cNvPr id="22" name="Прямая со стрелкой 21"/>
          <p:cNvCxnSpPr>
            <a:endCxn id="16" idx="0"/>
          </p:cNvCxnSpPr>
          <p:nvPr/>
        </p:nvCxnSpPr>
        <p:spPr>
          <a:xfrm flipH="1">
            <a:off x="4249624" y="2944045"/>
            <a:ext cx="536763" cy="551459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endCxn id="19" idx="0"/>
          </p:cNvCxnSpPr>
          <p:nvPr/>
        </p:nvCxnSpPr>
        <p:spPr>
          <a:xfrm>
            <a:off x="6631812" y="2944045"/>
            <a:ext cx="486295" cy="55977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145177" y="370947"/>
            <a:ext cx="88965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0070C0"/>
                </a:solidFill>
              </a:rPr>
              <a:t>Иерархическая структура работ проекта, предварительной оценки ресурсов</a:t>
            </a:r>
          </a:p>
        </p:txBody>
      </p:sp>
    </p:spTree>
    <p:extLst>
      <p:ext uri="{BB962C8B-B14F-4D97-AF65-F5344CB8AC3E}">
        <p14:creationId xmlns:p14="http://schemas.microsoft.com/office/powerpoint/2010/main" val="1039756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lkVdPpF00LaIfvUPwjrg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397288</TotalTime>
  <Words>1540</Words>
  <Application>Microsoft Office PowerPoint</Application>
  <PresentationFormat>Широкоэкранный</PresentationFormat>
  <Paragraphs>253</Paragraphs>
  <Slides>1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Arial</vt:lpstr>
      <vt:lpstr>Calibri</vt:lpstr>
      <vt:lpstr>Century Gothic</vt:lpstr>
      <vt:lpstr>Graphik LCG</vt:lpstr>
      <vt:lpstr>Trebuchet MS</vt:lpstr>
      <vt:lpstr>Wingdings 3</vt:lpstr>
      <vt:lpstr>Сектор</vt:lpstr>
      <vt:lpstr>Слайд think-cell</vt:lpstr>
      <vt:lpstr> "Вверх"</vt:lpstr>
      <vt:lpstr>Какую проблему решает проект ? В чем ее актуальность? Каков масштаб проблемы?</vt:lpstr>
      <vt:lpstr>Презентация PowerPoint</vt:lpstr>
      <vt:lpstr>Какое желаемое состояние мы планируем достичь реализацией проекта? Проблема, переформулированная в позитивном ключе.</vt:lpstr>
      <vt:lpstr>Краткое описание предлагаемого решения. </vt:lpstr>
      <vt:lpstr>На какие сегменты рынка ориентирован продукт/услуга?  (название, доля, динамика, тенденции развития, драйверы роста, потенциальные потребители)   Обоснование спроса на продукцию, с описанием целевых потребителей (клиентов) и ключевых факторов принятия ими решения.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  результатов. Структурная декомпозиция результатов.</vt:lpstr>
      <vt:lpstr>Презентация PowerPoint</vt:lpstr>
      <vt:lpstr>Презентация PowerPoint</vt:lpstr>
      <vt:lpstr>В чем наше уникальное предложение? Какие есть аналогичные решения? В чем их сильные и слабые стороны?  Почему/чем ваше решение лучше, чем решения конкурентов.</vt:lpstr>
      <vt:lpstr>Идея ⟶ Наличие прототипа/макета/опытного образца ⟶ Наличие экспертизы/поддержки/договоренностей/ресурсной базы ⟶  Реализованный пилот или локальное внедрение ⟶ Готовность передачи в производство или тиражирование.</vt:lpstr>
      <vt:lpstr>Матрица связей работ проекта ( сетевой график работ) с указанием предшествования работ, длительностей и соответствующих сроков (заполняется по каждой задаче)</vt:lpstr>
      <vt:lpstr>Основные этапы проекта, контрольные точки, ведущие к достижению промежуточных и конечных результатов.</vt:lpstr>
      <vt:lpstr>Источники финансирования, наличие команды, инфраструктура и т.д.</vt:lpstr>
      <vt:lpstr>Какой рынок создает, развивает реализация проекта? Какой эффект даст реализация проекта вне системы заявителя, а не внутри нее?  Изменение поведения людей или функционирования объектов и систем, к которому приводит использование результата проекта?</vt:lpstr>
      <vt:lpstr>           Паспорт проекта Часть 1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S</cp:lastModifiedBy>
  <cp:revision>2403</cp:revision>
  <dcterms:created xsi:type="dcterms:W3CDTF">2015-08-29T06:24:16Z</dcterms:created>
  <dcterms:modified xsi:type="dcterms:W3CDTF">2020-09-04T20:58:46Z</dcterms:modified>
</cp:coreProperties>
</file>